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  <p:sldMasterId id="2147483678" r:id="rId2"/>
  </p:sldMasterIdLst>
  <p:notesMasterIdLst>
    <p:notesMasterId r:id="rId4"/>
  </p:notesMasterIdLst>
  <p:handoutMasterIdLst>
    <p:handoutMasterId r:id="rId5"/>
  </p:handoutMasterIdLst>
  <p:sldIdLst>
    <p:sldId id="376" r:id="rId3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7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3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7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7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5662530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73608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26766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97364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1027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576129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74408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8182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91039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oleObject" Target="../embeddings/oleObject10.bin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July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81D8851-EC51-407D-A0D2-8C9F50646D0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29227713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July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379945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DDCB49D7-2A08-4B17-AFAD-CAC90B5DD8D7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03950485-95E7-4BD9-B01C-E5ABAEF7935A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E98A7C4D-E0FB-4538-9048-0353C1187F5F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Rechteck 11">
              <a:extLst>
                <a:ext uri="{FF2B5EF4-FFF2-40B4-BE49-F238E27FC236}">
                  <a16:creationId xmlns:a16="http://schemas.microsoft.com/office/drawing/2014/main" id="{6F6EA92E-9EB0-44C7-B2FF-088299DFD291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26" name="Rechteck 12">
              <a:extLst>
                <a:ext uri="{FF2B5EF4-FFF2-40B4-BE49-F238E27FC236}">
                  <a16:creationId xmlns:a16="http://schemas.microsoft.com/office/drawing/2014/main" id="{886113AF-B9CB-40DE-8534-C636A58E8AD3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altLang="fr-FR" dirty="0"/>
              <a:t>Realize a manutenção do seu equipamento a qualquer momento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77903"/>
            <a:ext cx="7997825" cy="307975"/>
          </a:xfrm>
        </p:spPr>
        <p:txBody>
          <a:bodyPr/>
          <a:lstStyle/>
          <a:p>
            <a:r>
              <a:rPr lang="pt-BR" dirty="0"/>
              <a:t>Kit de ferramentas de manutenção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lvl="0" indent="-180000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pt-BR" sz="1100" dirty="0">
                <a:solidFill>
                  <a:srgbClr val="000000"/>
                </a:solidFill>
              </a:rPr>
              <a:t>Informações precisas sobre o ajuste do dispositivo (tensionamento da correia, nivelamento, aperto dos parafusos)</a:t>
            </a:r>
          </a:p>
          <a:p>
            <a:pPr marL="180000" lvl="0" indent="-180000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pt-BR" sz="1100" dirty="0">
                <a:solidFill>
                  <a:srgbClr val="000000"/>
                </a:solidFill>
              </a:rPr>
              <a:t>Manutenção controlada por dispositivos acompanhada de documentos.</a:t>
            </a:r>
          </a:p>
          <a:p>
            <a:pPr marL="180000" lvl="0" indent="-180000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pt-BR" sz="1100" dirty="0">
                <a:solidFill>
                  <a:srgbClr val="000000"/>
                </a:solidFill>
              </a:rPr>
              <a:t>Eficiência de precaução antes que as peças desgastadas possam gerar danos ou falhas</a:t>
            </a:r>
          </a:p>
          <a:p>
            <a:pPr marL="180000" lvl="0" indent="-180000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pt-BR" sz="1100" dirty="0">
                <a:solidFill>
                  <a:srgbClr val="000000"/>
                </a:solidFill>
              </a:rPr>
              <a:t>A disponibilidade da ferramenta certa para cada medida permite o controle exato do status das peças.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259383"/>
            <a:ext cx="3889375" cy="2013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Conjunto completo dedicado com SOP e CILT personalizado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Mais de 20 ferramentas, incluindo: medidor de tensão; Auxiliar de alinhamento a laser; Kit 6-32 mm de chaves mecânicas; SEE 6 "e métrico; Calibre elétrico digital; Calibre de tamanho fixo ou ajustável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Manual de instruções dedicado com instruções de ajuste precisa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Disponível para todos os equipamentos instalados a partir de 2014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06BBC0F-0508-46AD-AB5E-3D988FC111DA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8820" y="4297948"/>
            <a:ext cx="1272312" cy="144295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EEDB2B8-076A-400A-B7F5-29C04EFC546D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8178" y="4297948"/>
            <a:ext cx="1434301" cy="1418194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26C2E91-7408-46C1-B84A-B03EF9255898}"/>
              </a:ext>
            </a:extLst>
          </p:cNvPr>
          <p:cNvSpPr txBox="1">
            <a:spLocks/>
          </p:cNvSpPr>
          <p:nvPr/>
        </p:nvSpPr>
        <p:spPr bwMode="auto">
          <a:xfrm>
            <a:off x="647700" y="589954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Manutenção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en-US" sz="800" kern="0" dirty="0">
                <a:solidFill>
                  <a:srgbClr val="000000"/>
                </a:solidFill>
              </a:rPr>
              <a:t>Pal/</a:t>
            </a:r>
            <a:r>
              <a:rPr lang="en-US" sz="800" kern="0" dirty="0" err="1">
                <a:solidFill>
                  <a:srgbClr val="000000"/>
                </a:solidFill>
              </a:rPr>
              <a:t>Depal</a:t>
            </a:r>
            <a:r>
              <a:rPr lang="en-US" sz="800" kern="0" dirty="0">
                <a:solidFill>
                  <a:srgbClr val="000000"/>
                </a:solidFill>
              </a:rPr>
              <a:t> (</a:t>
            </a:r>
            <a:r>
              <a:rPr lang="en-US" sz="800" kern="0" dirty="0" err="1">
                <a:solidFill>
                  <a:srgbClr val="000000"/>
                </a:solidFill>
              </a:rPr>
              <a:t>Pr</a:t>
            </a:r>
            <a:r>
              <a:rPr lang="en-US" sz="800" kern="0" dirty="0">
                <a:solidFill>
                  <a:srgbClr val="000000"/>
                </a:solidFill>
              </a:rPr>
              <a:t>)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lang="fr-FR" sz="800" dirty="0" err="1"/>
              <a:t>Catálogo</a:t>
            </a:r>
            <a:r>
              <a:rPr lang="fr-FR" sz="800" dirty="0"/>
              <a:t> </a:t>
            </a:r>
            <a:r>
              <a:rPr lang="fr-FR" sz="800" dirty="0" err="1"/>
              <a:t>código</a:t>
            </a: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</a:t>
            </a:r>
            <a:r>
              <a:rPr lang="en-US" sz="800" kern="0" dirty="0">
                <a:solidFill>
                  <a:srgbClr val="000000"/>
                </a:solidFill>
              </a:rPr>
              <a:t>EOL-028</a:t>
            </a:r>
            <a:endParaRPr kumimoji="0" lang="pt-BR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68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34</TotalTime>
  <Words>158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Arial</vt:lpstr>
      <vt:lpstr>Wingdings</vt:lpstr>
      <vt:lpstr>LIOMT</vt:lpstr>
      <vt:lpstr>1_NewSidel_Template_4x3_with add layouts</vt:lpstr>
      <vt:lpstr>think-cell Folie</vt:lpstr>
      <vt:lpstr>Realize a manutenção do seu equipamento a qualquer momen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2</cp:revision>
  <dcterms:created xsi:type="dcterms:W3CDTF">2018-02-10T17:04:39Z</dcterms:created>
  <dcterms:modified xsi:type="dcterms:W3CDTF">2020-07-20T15:3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